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D9F10145-829E-4661-A525-184CE8FBD36A}">
          <p14:sldIdLst>
            <p14:sldId id="2147475173"/>
            <p14:sldId id="2147475174"/>
            <p14:sldId id="2147475175"/>
            <p14:sldId id="2147475176"/>
            <p14:sldId id="2147475177"/>
            <p14:sldId id="2147475178"/>
            <p14:sldId id="2147475179"/>
            <p14:sldId id="2147475180"/>
            <p14:sldId id="2147475181"/>
          </p14:sldIdLst>
        </p14:section>
        <p14:section name="Brackets By Segment" id="{A5668D47-9E09-46DD-95D9-95D44E144FC2}">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7" d="100"/>
          <a:sy n="47" d="100"/>
        </p:scale>
        <p:origin x="48" y="57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891821607904375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822763903527879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36263437631919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081819453501239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587410205350939</c:v>
                </c:pt>
                <c:pt idx="3">
                  <c:v>0.290515684701293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92491100126700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4696732894804907</c:v>
                </c:pt>
                <c:pt idx="3">
                  <c:v>0.1294241622909289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650249980273621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7940877463985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3730214756513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369785455380145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7222352251378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1316254608162919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342555336837963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094976546410862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5176788547904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14183949294502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34393206265331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50141091619643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5379020171943066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259750406271548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708902718571247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7449566299376987</c:v>
                </c:pt>
                <c:pt idx="3">
                  <c:v>0.1449286476972093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41960324694266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31323062869994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2271476773843705</c:v>
                </c:pt>
                <c:pt idx="3">
                  <c:v>0.0632882765065193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794835557629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07154126886397318</c:v>
                </c:pt>
                <c:pt idx="3">
                  <c:v>0.0759962043039532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891821607904375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326712475226361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36263437631919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587410205350939</c:v>
                </c:pt>
                <c:pt idx="3">
                  <c:v>0.290515684701293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92491100126700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4696732894804907</c:v>
                </c:pt>
                <c:pt idx="3">
                  <c:v>0.1294241622909289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650249980273621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7940877463985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3730214756513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914956696516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7222352251378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342555336837963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094976546410862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14183949294502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2284143100155846</c:v>
                </c:pt>
                <c:pt idx="3">
                  <c:v>0.841741951475289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34393206265331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5379020171943066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558835257035691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708902718571247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7449566299376987</c:v>
                </c:pt>
                <c:pt idx="3">
                  <c:v>0.1449286476972093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31323062869994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2271476773843705</c:v>
                </c:pt>
                <c:pt idx="3">
                  <c:v>0.0632882765065193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794835557629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07154126886397318</c:v>
                </c:pt>
                <c:pt idx="3">
                  <c:v>0.0759962043039532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891821607904375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36263437631919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0596612300984257</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7587410205350939</c:v>
                </c:pt>
                <c:pt idx="3">
                  <c:v>0.290515684701293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306759233782574</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924911001267009</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676713976761358</c:v>
                </c:pt>
                <c:pt idx="3">
                  <c:v>0.460824539624912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14696732894804907</c:v>
                </c:pt>
                <c:pt idx="3">
                  <c:v>0.1294241622909289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650249980273621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794087746398517</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307713271147521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037302147565135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272223522513789</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3022027089745388</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342555336837963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5885701230756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553042603771280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20949765464108622</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4141839492945024</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343932062653318</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5379020171943066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708902718571247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20470611665424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95559312703876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7449566299376987</c:v>
                </c:pt>
                <c:pt idx="3">
                  <c:v>0.14492864769720934</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2127086638822038</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1131323062869994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2271476773843705</c:v>
                </c:pt>
                <c:pt idx="3">
                  <c:v>0.0632882765065193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47948355576293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07154126886397318</c:v>
                </c:pt>
                <c:pt idx="3">
                  <c:v>0.0759962043039532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904583357029119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2284143100155846</c:v>
                </c:pt>
                <c:pt idx="3">
                  <c:v>0.841741951475289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32671416567332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556210701135107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520529710840380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556210701135107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5176788547904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891506821952563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41960324694266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676713976761358</c:v>
                </c:pt>
                <c:pt idx="3">
                  <c:v>0.460824539624912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558835257035691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5885701230756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520529710840380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20470611665424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64240176946469595</c:v>
                </c:pt>
                <c:pt idx="3">
                  <c:v>0.993575741741746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032284143100155846</c:v>
                </c:pt>
                <c:pt idx="3">
                  <c:v>0.8417419514752895</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366420463880999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35562107011351075</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3138145092351494</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520529710840380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1.0</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95176788547904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855245312745819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4419603246942663</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4420977982501233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27216114535275043</c:v>
                </c:pt>
                <c:pt idx="3">
                  <c:v>0.9727830177001198</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2">
                  <c:v>0.013676713976761358</c:v>
                </c:pt>
                <c:pt idx="3">
                  <c:v>0.4608245396249129</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1168301790920966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758857012307566</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032453432052952902</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pt idx="3">
                  <c:v>0.0220470611665424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5</c:f>
              <c:numCache>
                <c:formatCode>General</c:formatCode>
                <c:ptCount val="4"/>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1.1"/>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170943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4952062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4184344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6183732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2299145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01466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027575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821974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343341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0091948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70690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1493338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9638385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7078175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869198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7046740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7546789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2839246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8258888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1371698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814526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2329094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1115463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229797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2186857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41549244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Pack Count Bracket By Sector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6"/>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740257">
                <a:tc>
                  <a:txBody>
                    <a:bodyPr/>
                    <a:lstStyle/>
                    <a:p>
                      <a:pPr algn="ctr">
                        <a:defRPr sz="700">
                          <a:latin typeface="Nexa Bold"/>
                        </a:defRPr>
                      </a:pPr>
                      <a:r>
                        <a:t>12-13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740257">
                <a:tc>
                  <a:txBody>
                    <a:bodyPr/>
                    <a:lstStyle/>
                    <a:p>
                      <a:pPr algn="ctr">
                        <a:defRPr sz="700">
                          <a:latin typeface="Nexa Bold"/>
                        </a:defRPr>
                      </a:pPr>
                      <a:r>
                        <a:t>10-1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740257">
                <a:tc>
                  <a:txBody>
                    <a:bodyPr/>
                    <a:lstStyle/>
                    <a:p>
                      <a:pPr algn="ctr">
                        <a:defRPr sz="700">
                          <a:latin typeface="Nexa Bold"/>
                        </a:defRPr>
                      </a:pPr>
                      <a:r>
                        <a:t>2-7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740257">
                <a:tc>
                  <a:txBody>
                    <a:bodyPr/>
                    <a:lstStyle/>
                    <a:p>
                      <a:pPr algn="ctr">
                        <a:defRPr sz="700">
                          <a:latin typeface="Nexa Bold"/>
                        </a:defRPr>
                      </a:pPr>
                      <a:r>
                        <a:t>1 CT</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8/2025</a:t>
            </a:fld>
            <a:endParaRPr lang="en-US" sz="500"/>
          </a:p>
        </p:txBody>
      </p:sp>
    </p:spTree>
    <p:extLst>
      <p:ext uri="{BB962C8B-B14F-4D97-AF65-F5344CB8AC3E}">
        <p14:creationId xmlns:p14="http://schemas.microsoft.com/office/powerpoint/2010/main" val="35592448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4:4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